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1"/>
  </p:notesMasterIdLst>
  <p:handoutMasterIdLst>
    <p:handoutMasterId r:id="rId32"/>
  </p:handoutMasterIdLst>
  <p:sldIdLst>
    <p:sldId id="276" r:id="rId2"/>
    <p:sldId id="426" r:id="rId3"/>
    <p:sldId id="545" r:id="rId4"/>
    <p:sldId id="530" r:id="rId5"/>
    <p:sldId id="532" r:id="rId6"/>
    <p:sldId id="533" r:id="rId7"/>
    <p:sldId id="513" r:id="rId8"/>
    <p:sldId id="531" r:id="rId9"/>
    <p:sldId id="546" r:id="rId10"/>
    <p:sldId id="511" r:id="rId11"/>
    <p:sldId id="512" r:id="rId12"/>
    <p:sldId id="547" r:id="rId13"/>
    <p:sldId id="514" r:id="rId14"/>
    <p:sldId id="515" r:id="rId15"/>
    <p:sldId id="516" r:id="rId16"/>
    <p:sldId id="517" r:id="rId17"/>
    <p:sldId id="518" r:id="rId18"/>
    <p:sldId id="519" r:id="rId19"/>
    <p:sldId id="520" r:id="rId20"/>
    <p:sldId id="537" r:id="rId21"/>
    <p:sldId id="544" r:id="rId22"/>
    <p:sldId id="538" r:id="rId23"/>
    <p:sldId id="541" r:id="rId24"/>
    <p:sldId id="542" r:id="rId25"/>
    <p:sldId id="539" r:id="rId26"/>
    <p:sldId id="540" r:id="rId27"/>
    <p:sldId id="521" r:id="rId28"/>
    <p:sldId id="548" r:id="rId29"/>
    <p:sldId id="549" r:id="rId30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6" userDrawn="1">
          <p15:clr>
            <a:srgbClr val="F26B43"/>
          </p15:clr>
        </p15:guide>
        <p15:guide id="3" pos="312" userDrawn="1">
          <p15:clr>
            <a:srgbClr val="F26B43"/>
          </p15:clr>
        </p15:guide>
        <p15:guide id="4" pos="1104" userDrawn="1">
          <p15:clr>
            <a:srgbClr val="F26B43"/>
          </p15:clr>
        </p15:guide>
        <p15:guide id="5" pos="5160" userDrawn="1">
          <p15:clr>
            <a:srgbClr val="F26B43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mala" initials="K" lastIdx="1" clrIdx="0">
    <p:extLst>
      <p:ext uri="{19B8F6BF-5375-455C-9EA6-DF929625EA0E}">
        <p15:presenceInfo xmlns:p15="http://schemas.microsoft.com/office/powerpoint/2012/main" userId="Komal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0000"/>
    <a:srgbClr val="4E82BC"/>
    <a:srgbClr val="DD6409"/>
    <a:srgbClr val="FF9933"/>
    <a:srgbClr val="FF3300"/>
    <a:srgbClr val="FF7C80"/>
    <a:srgbClr val="B1135A"/>
    <a:srgbClr val="EAEBE6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4" autoAdjust="0"/>
    <p:restoredTop sz="95179" autoAdjust="0"/>
  </p:normalViewPr>
  <p:slideViewPr>
    <p:cSldViewPr snapToGrid="0" showGuides="1">
      <p:cViewPr varScale="1">
        <p:scale>
          <a:sx n="93" d="100"/>
          <a:sy n="93" d="100"/>
        </p:scale>
        <p:origin x="666" y="90"/>
      </p:cViewPr>
      <p:guideLst>
        <p:guide orient="horz" pos="486"/>
        <p:guide pos="312"/>
        <p:guide pos="1104"/>
        <p:guide pos="5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8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3001C7-0E60-4A28-87D0-DB9CABFF5C8B}" type="datetimeFigureOut">
              <a:rPr lang="en-IN" smtClean="0"/>
              <a:t>07-10-2015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981A5D-A40D-4EC7-BFF0-6E2C742A748E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415315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ECDCE2-806D-4599-8BCA-79DEF8E10D46}" type="datetimeFigureOut">
              <a:rPr lang="en-IN" smtClean="0"/>
              <a:t>07-10-2015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72DF32-8D47-42FD-B435-FE4F3C14D774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14653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CC9574-A819-4FE4-99A7-1E27AD09ADC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755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1474" y="27010"/>
            <a:ext cx="9144000" cy="5143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srgbClr val="262626"/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22300" y="4794274"/>
            <a:ext cx="2133600" cy="273844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239668" y="198062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6833367" y="4517275"/>
            <a:ext cx="23106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r-for-analytics</a:t>
            </a:r>
            <a:endParaRPr lang="en-IN" sz="1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bk object 16"/>
          <p:cNvSpPr/>
          <p:nvPr userDrawn="1"/>
        </p:nvSpPr>
        <p:spPr>
          <a:xfrm>
            <a:off x="0" y="0"/>
            <a:ext cx="9144000" cy="5143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srgbClr val="262626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780340" y="4691887"/>
            <a:ext cx="23636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apache-Kafka</a:t>
            </a:r>
            <a:endParaRPr lang="en-IN" sz="12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19" t="16639" r="21294" b="17186"/>
          <a:stretch/>
        </p:blipFill>
        <p:spPr>
          <a:xfrm>
            <a:off x="3534530" y="382587"/>
            <a:ext cx="2074939" cy="255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347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3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0"/>
          <p:cNvSpPr txBox="1"/>
          <p:nvPr userDrawn="1"/>
        </p:nvSpPr>
        <p:spPr>
          <a:xfrm>
            <a:off x="34925" y="4795841"/>
            <a:ext cx="1441450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685766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685766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10"/>
          <p:cNvSpPr txBox="1"/>
          <p:nvPr userDrawn="1"/>
        </p:nvSpPr>
        <p:spPr>
          <a:xfrm>
            <a:off x="34925" y="4795839"/>
            <a:ext cx="1441450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780340" y="4795064"/>
            <a:ext cx="23636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apache-Kafka</a:t>
            </a:r>
            <a:endParaRPr lang="en-IN" sz="1200" dirty="0">
              <a:solidFill>
                <a:schemeClr val="accent2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9970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240D5ECE-8B49-45CD-BE81-EF81920D1969}" type="slidenum">
              <a:rPr lang="en-US" smtClean="0">
                <a:solidFill>
                  <a:srgbClr val="262626">
                    <a:lumMod val="85000"/>
                    <a:lumOff val="1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85000"/>
                  <a:lumOff val="1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1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3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076" y="123478"/>
            <a:ext cx="1840832" cy="331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07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240D5ECE-8B49-45CD-BE81-EF81920D1969}" type="slidenum">
              <a:rPr lang="en-US" smtClean="0">
                <a:solidFill>
                  <a:srgbClr val="262626">
                    <a:lumMod val="85000"/>
                    <a:lumOff val="1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85000"/>
                  <a:lumOff val="1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1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2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166" y="1425362"/>
            <a:ext cx="4911175" cy="2790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599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7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240D5ECE-8B49-45CD-BE81-EF81920D1969}" type="slidenum">
              <a:rPr lang="en-US" smtClean="0">
                <a:solidFill>
                  <a:srgbClr val="262626">
                    <a:lumMod val="85000"/>
                    <a:lumOff val="1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85000"/>
                  <a:lumOff val="1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1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3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6264" y="964260"/>
            <a:ext cx="1779354" cy="3811051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 userDrawn="1"/>
        </p:nvSpPr>
        <p:spPr>
          <a:xfrm>
            <a:off x="5348051" y="4795064"/>
            <a:ext cx="37346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advanced-predictive-modelling-in-r</a:t>
            </a:r>
            <a:endParaRPr lang="en-IN" sz="12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75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766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pache-Kafka</a:t>
            </a:r>
          </a:p>
        </p:txBody>
      </p:sp>
    </p:spTree>
    <p:extLst>
      <p:ext uri="{BB962C8B-B14F-4D97-AF65-F5344CB8AC3E}">
        <p14:creationId xmlns:p14="http://schemas.microsoft.com/office/powerpoint/2010/main" val="98726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392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pPr defTabSz="685766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/>
            <a:fld id="{240D5ECE-8B49-45CD-BE81-EF81920D1969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685766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64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694" r:id="rId2"/>
    <p:sldLayoutId id="2147483690" r:id="rId3"/>
    <p:sldLayoutId id="2147483711" r:id="rId4"/>
    <p:sldLayoutId id="2147483683" r:id="rId5"/>
    <p:sldLayoutId id="2147483712" r:id="rId6"/>
    <p:sldLayoutId id="2147483713" r:id="rId7"/>
    <p:sldLayoutId id="2147483714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333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75" indent="-342875" algn="l" defTabSz="91433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5" indent="-285729" algn="l" defTabSz="914333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5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2" algn="l" defTabSz="914333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6" indent="-228582" algn="l" defTabSz="914333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1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jpe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5929" y="2899796"/>
            <a:ext cx="796996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>
                <a:solidFill>
                  <a:srgbClr val="0070C0"/>
                </a:solidFill>
                <a:latin typeface="+mj-lt"/>
              </a:rPr>
              <a:t>How Apache </a:t>
            </a:r>
            <a:r>
              <a:rPr lang="en-US" sz="3200" b="1" dirty="0" smtClean="0">
                <a:solidFill>
                  <a:srgbClr val="0070C0"/>
                </a:solidFill>
                <a:latin typeface="+mj-lt"/>
              </a:rPr>
              <a:t>Kafka </a:t>
            </a:r>
            <a:r>
              <a:rPr lang="en-US" sz="3200" b="1" dirty="0">
                <a:solidFill>
                  <a:srgbClr val="0070C0"/>
                </a:solidFill>
                <a:latin typeface="+mj-lt"/>
              </a:rPr>
              <a:t>is transforming </a:t>
            </a:r>
            <a:endParaRPr lang="en-US" sz="3200" b="1" dirty="0" smtClean="0">
              <a:solidFill>
                <a:srgbClr val="0070C0"/>
              </a:solidFill>
              <a:latin typeface="+mj-lt"/>
            </a:endParaRPr>
          </a:p>
          <a:p>
            <a:pPr algn="ctr" defTabSz="914400"/>
            <a:r>
              <a:rPr lang="en-US" sz="3200" b="1" dirty="0" smtClean="0">
                <a:solidFill>
                  <a:srgbClr val="0070C0"/>
                </a:solidFill>
                <a:latin typeface="+mj-lt"/>
              </a:rPr>
              <a:t>Hadoop</a:t>
            </a:r>
            <a:r>
              <a:rPr lang="en-US" sz="3200" b="1" dirty="0">
                <a:solidFill>
                  <a:srgbClr val="0070C0"/>
                </a:solidFill>
                <a:latin typeface="+mj-lt"/>
              </a:rPr>
              <a:t>, Spark &amp; Storm</a:t>
            </a:r>
            <a:endParaRPr lang="en-IN" sz="3200" b="1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2" name="AutoShape 2" descr="Inline image 1"/>
          <p:cNvSpPr>
            <a:spLocks noChangeAspect="1" noChangeArrowheads="1"/>
          </p:cNvSpPr>
          <p:nvPr/>
        </p:nvSpPr>
        <p:spPr bwMode="auto">
          <a:xfrm>
            <a:off x="155574" y="-144463"/>
            <a:ext cx="2409205" cy="2409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11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7568" y="745296"/>
            <a:ext cx="492797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tributed publish-subscribe messaging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stem</a:t>
            </a:r>
            <a:endParaRPr lang="en-US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veloped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nkedIn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orporation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ovides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lution to handle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vity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eam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ly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pported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Hadoop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tform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artitions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l time consumption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ross cluster of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chines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ovides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mechanism for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allel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ad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o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</a:t>
            </a:r>
          </a:p>
          <a:p>
            <a:pPr defTabSz="685783">
              <a:lnSpc>
                <a:spcPct val="300000"/>
              </a:lnSpc>
            </a:pP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is Kafka 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19" t="16639" r="21294" b="17186"/>
          <a:stretch/>
        </p:blipFill>
        <p:spPr>
          <a:xfrm>
            <a:off x="6401020" y="1081230"/>
            <a:ext cx="2074939" cy="255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723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Arrow Connector 46"/>
          <p:cNvCxnSpPr/>
          <p:nvPr/>
        </p:nvCxnSpPr>
        <p:spPr>
          <a:xfrm>
            <a:off x="5210343" y="2910031"/>
            <a:ext cx="1661695" cy="485494"/>
          </a:xfrm>
          <a:prstGeom prst="straightConnector1">
            <a:avLst/>
          </a:prstGeom>
          <a:ln w="15875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4878324" y="3069324"/>
            <a:ext cx="664039" cy="691567"/>
          </a:xfrm>
          <a:prstGeom prst="straightConnector1">
            <a:avLst/>
          </a:prstGeom>
          <a:ln w="15875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047786" y="1624956"/>
            <a:ext cx="367615" cy="741129"/>
          </a:xfrm>
          <a:prstGeom prst="straightConnector1">
            <a:avLst/>
          </a:prstGeom>
          <a:ln w="158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4778690" y="1595862"/>
            <a:ext cx="512146" cy="766948"/>
          </a:xfrm>
          <a:prstGeom prst="straightConnector1">
            <a:avLst/>
          </a:prstGeom>
          <a:ln w="158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pache Kafka – Overview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3964649" y="2370173"/>
            <a:ext cx="1254868" cy="729574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fka</a:t>
            </a:r>
            <a:endParaRPr lang="en-US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6156005" y="1088897"/>
            <a:ext cx="1264596" cy="55779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ternal Tracking Proxy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1786142" y="1081910"/>
            <a:ext cx="1264596" cy="55779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ontend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4699384" y="1067165"/>
            <a:ext cx="1264596" cy="55779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ontend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3242763" y="1088896"/>
            <a:ext cx="1264596" cy="55779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ontend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6881212" y="2011101"/>
            <a:ext cx="1515674" cy="659002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ground Service (Consumer)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6881212" y="3034516"/>
            <a:ext cx="1482784" cy="721572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ground Service (Consumer)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2683674" y="4021972"/>
            <a:ext cx="1713665" cy="675666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doop</a:t>
            </a:r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Flowchart: Magnetic Disk 32"/>
          <p:cNvSpPr/>
          <p:nvPr/>
        </p:nvSpPr>
        <p:spPr>
          <a:xfrm>
            <a:off x="5219517" y="3756088"/>
            <a:ext cx="1362309" cy="1036629"/>
          </a:xfrm>
          <a:prstGeom prst="flowChartMagneticDisk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WH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914401" y="2011101"/>
            <a:ext cx="1461564" cy="751554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ground Service (Producer)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893181" y="3034516"/>
            <a:ext cx="1482784" cy="721572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ground Service (Producer)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2409520" y="1639682"/>
            <a:ext cx="1550097" cy="780117"/>
          </a:xfrm>
          <a:prstGeom prst="straightConnector1">
            <a:avLst/>
          </a:prstGeom>
          <a:ln w="158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flipH="1">
            <a:off x="5180691" y="1639682"/>
            <a:ext cx="1081159" cy="769499"/>
          </a:xfrm>
          <a:prstGeom prst="straightConnector1">
            <a:avLst/>
          </a:prstGeom>
          <a:ln w="158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V="1">
            <a:off x="5228706" y="2193909"/>
            <a:ext cx="1652506" cy="475037"/>
          </a:xfrm>
          <a:prstGeom prst="straightConnector1">
            <a:avLst/>
          </a:prstGeom>
          <a:ln w="15875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 flipH="1">
            <a:off x="3562081" y="3099747"/>
            <a:ext cx="706939" cy="919525"/>
          </a:xfrm>
          <a:prstGeom prst="straightConnector1">
            <a:avLst/>
          </a:prstGeom>
          <a:ln w="15875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endCxn id="11" idx="1"/>
          </p:cNvCxnSpPr>
          <p:nvPr/>
        </p:nvCxnSpPr>
        <p:spPr>
          <a:xfrm>
            <a:off x="2371233" y="2263847"/>
            <a:ext cx="1593416" cy="471113"/>
          </a:xfrm>
          <a:prstGeom prst="straightConnector1">
            <a:avLst/>
          </a:prstGeom>
          <a:ln w="158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V="1">
            <a:off x="2355171" y="2939939"/>
            <a:ext cx="1598508" cy="574769"/>
          </a:xfrm>
          <a:prstGeom prst="straightConnector1">
            <a:avLst/>
          </a:prstGeom>
          <a:ln w="15875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032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Kafka Architecture</a:t>
            </a:r>
          </a:p>
        </p:txBody>
      </p:sp>
    </p:spTree>
    <p:extLst>
      <p:ext uri="{BB962C8B-B14F-4D97-AF65-F5344CB8AC3E}">
        <p14:creationId xmlns:p14="http://schemas.microsoft.com/office/powerpoint/2010/main" val="93880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Architecture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1608737" y="1239502"/>
            <a:ext cx="6755259" cy="3148520"/>
            <a:chOff x="1608737" y="1239502"/>
            <a:chExt cx="6755259" cy="3148520"/>
          </a:xfrm>
        </p:grpSpPr>
        <p:cxnSp>
          <p:nvCxnSpPr>
            <p:cNvPr id="3079" name="Straight Arrow Connector 3078"/>
            <p:cNvCxnSpPr/>
            <p:nvPr/>
          </p:nvCxnSpPr>
          <p:spPr>
            <a:xfrm flipV="1">
              <a:off x="2349611" y="3151041"/>
              <a:ext cx="953311" cy="777409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1" name="Straight Arrow Connector 3080"/>
            <p:cNvCxnSpPr/>
            <p:nvPr/>
          </p:nvCxnSpPr>
          <p:spPr>
            <a:xfrm flipV="1">
              <a:off x="3392926" y="3169952"/>
              <a:ext cx="711250" cy="800455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3" name="Straight Arrow Connector 3082"/>
            <p:cNvCxnSpPr/>
            <p:nvPr/>
          </p:nvCxnSpPr>
          <p:spPr>
            <a:xfrm flipH="1" flipV="1">
              <a:off x="4469136" y="3150231"/>
              <a:ext cx="0" cy="830299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7" name="Straight Arrow Connector 3086"/>
            <p:cNvCxnSpPr/>
            <p:nvPr/>
          </p:nvCxnSpPr>
          <p:spPr>
            <a:xfrm flipH="1" flipV="1">
              <a:off x="4770322" y="3151041"/>
              <a:ext cx="704419" cy="876387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9" name="Straight Arrow Connector 3088"/>
            <p:cNvCxnSpPr/>
            <p:nvPr/>
          </p:nvCxnSpPr>
          <p:spPr>
            <a:xfrm flipH="1" flipV="1">
              <a:off x="5428451" y="3157527"/>
              <a:ext cx="1413218" cy="823003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2251284" y="1585142"/>
              <a:ext cx="1239439" cy="812568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>
              <a:off x="3490725" y="1585142"/>
              <a:ext cx="482137" cy="812568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 flipH="1">
              <a:off x="4403703" y="1612606"/>
              <a:ext cx="326463" cy="785104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2" name="Straight Arrow Connector 3071"/>
            <p:cNvCxnSpPr/>
            <p:nvPr/>
          </p:nvCxnSpPr>
          <p:spPr>
            <a:xfrm flipH="1">
              <a:off x="4815425" y="1615765"/>
              <a:ext cx="845334" cy="788810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7" name="Straight Arrow Connector 3076"/>
            <p:cNvCxnSpPr/>
            <p:nvPr/>
          </p:nvCxnSpPr>
          <p:spPr>
            <a:xfrm flipH="1">
              <a:off x="5688091" y="1599796"/>
              <a:ext cx="931545" cy="785104"/>
            </a:xfrm>
            <a:prstGeom prst="straightConnector1">
              <a:avLst/>
            </a:prstGeom>
            <a:ln w="15875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Rounded Rectangle 2"/>
            <p:cNvSpPr/>
            <p:nvPr/>
          </p:nvSpPr>
          <p:spPr>
            <a:xfrm>
              <a:off x="1608737" y="1239503"/>
              <a:ext cx="1089497" cy="426494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ducer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Front End)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2848178" y="1239502"/>
              <a:ext cx="1089497" cy="426495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ducer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Services)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4087619" y="1247708"/>
              <a:ext cx="1089497" cy="445753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ducer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Proxies)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327060" y="1247708"/>
              <a:ext cx="1089497" cy="445753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ducer</a:t>
              </a:r>
            </a:p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Adapters)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6566501" y="1247708"/>
              <a:ext cx="1089497" cy="445753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ther Producer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6856209" y="2478565"/>
              <a:ext cx="1507787" cy="612842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Zookeeper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1608737" y="3868815"/>
              <a:ext cx="1089497" cy="468451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nsumers (Real Time)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2848177" y="3910773"/>
              <a:ext cx="1089497" cy="426494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nsumers (NoSQL)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4087617" y="3910773"/>
              <a:ext cx="1089497" cy="455876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nsumers (Hadoop)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5327057" y="3920895"/>
              <a:ext cx="1228292" cy="445753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nsumers (Warehouses)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6705292" y="3920896"/>
              <a:ext cx="1089497" cy="467126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ther Producer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091" name="Straight Arrow Connector 3090"/>
            <p:cNvCxnSpPr>
              <a:stCxn id="14" idx="3"/>
              <a:endCxn id="15" idx="1"/>
            </p:cNvCxnSpPr>
            <p:nvPr/>
          </p:nvCxnSpPr>
          <p:spPr>
            <a:xfrm>
              <a:off x="5992998" y="2763815"/>
              <a:ext cx="863211" cy="0"/>
            </a:xfrm>
            <a:prstGeom prst="straightConnector1">
              <a:avLst/>
            </a:prstGeom>
            <a:ln w="15875">
              <a:solidFill>
                <a:srgbClr val="0070C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/>
            <p:cNvGrpSpPr/>
            <p:nvPr/>
          </p:nvGrpSpPr>
          <p:grpSpPr>
            <a:xfrm>
              <a:off x="2945274" y="2409899"/>
              <a:ext cx="3047724" cy="704125"/>
              <a:chOff x="768485" y="1924456"/>
              <a:chExt cx="2889115" cy="616085"/>
            </a:xfrm>
          </p:grpSpPr>
          <p:sp>
            <p:nvSpPr>
              <p:cNvPr id="4" name="Rounded Rectangle 3"/>
              <p:cNvSpPr/>
              <p:nvPr/>
            </p:nvSpPr>
            <p:spPr>
              <a:xfrm>
                <a:off x="768485" y="1926077"/>
                <a:ext cx="1070043" cy="612842"/>
              </a:xfrm>
              <a:prstGeom prst="roundRect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en-US" sz="13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afka</a:t>
                </a:r>
                <a:endParaRPr lang="en-US" sz="13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2" name="Rounded Rectangle 11"/>
              <p:cNvSpPr/>
              <p:nvPr/>
            </p:nvSpPr>
            <p:spPr>
              <a:xfrm>
                <a:off x="1332054" y="1924456"/>
                <a:ext cx="1070043" cy="612842"/>
              </a:xfrm>
              <a:prstGeom prst="roundRect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en-US" sz="13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afka</a:t>
                </a:r>
                <a:endParaRPr lang="en-US" sz="13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" name="Rounded Rectangle 12"/>
              <p:cNvSpPr/>
              <p:nvPr/>
            </p:nvSpPr>
            <p:spPr>
              <a:xfrm>
                <a:off x="1922833" y="1927699"/>
                <a:ext cx="1070043" cy="612842"/>
              </a:xfrm>
              <a:prstGeom prst="roundRect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en-US" sz="13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afka</a:t>
                </a:r>
                <a:endParaRPr lang="en-US" sz="13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4" name="Rounded Rectangle 13"/>
              <p:cNvSpPr/>
              <p:nvPr/>
            </p:nvSpPr>
            <p:spPr>
              <a:xfrm>
                <a:off x="2500254" y="1927699"/>
                <a:ext cx="1157346" cy="612842"/>
              </a:xfrm>
              <a:prstGeom prst="roundRect">
                <a:avLst/>
              </a:prstGeom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en-US" sz="13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afka Broker</a:t>
                </a:r>
                <a:endParaRPr lang="en-US" sz="13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6254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7296" y="803665"/>
            <a:ext cx="492797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lnSpc>
                <a:spcPct val="15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elow table lists the core concepts of Kafka</a:t>
            </a:r>
          </a:p>
          <a:p>
            <a:pPr defTabSz="685783"/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Core Components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259616"/>
              </p:ext>
            </p:extLst>
          </p:nvPr>
        </p:nvGraphicFramePr>
        <p:xfrm>
          <a:off x="1655664" y="1357663"/>
          <a:ext cx="6038915" cy="2986448"/>
        </p:xfrm>
        <a:graphic>
          <a:graphicData uri="http://schemas.openxmlformats.org/drawingml/2006/table">
            <a:tbl>
              <a:tblPr firstRow="1" bandRow="1"/>
              <a:tblGrid>
                <a:gridCol w="1456517"/>
                <a:gridCol w="4582398"/>
              </a:tblGrid>
              <a:tr h="444493"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eature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escription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699154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pic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 category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or </a:t>
                      </a:r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eed to which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essages are published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444493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c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ublishes messages to the Kafka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pic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99154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sum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bscribe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and c</a:t>
                      </a:r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sume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essages from Kafka Topic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699154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rok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andles hundred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of megabytes of reads and writes 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8767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Topic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565" y="3032797"/>
            <a:ext cx="3995539" cy="191335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77296" y="677203"/>
            <a:ext cx="827759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r defined category where the messages are published</a:t>
            </a: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For each topic a partition log is maintained</a:t>
            </a: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ach partition basically contains an ordered, immutable sequence of messages where each message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 assigned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sequential ID number called offset</a:t>
            </a: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rites to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tition are generally sequential thereby reducing the number of hard disk seeks</a:t>
            </a: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Reading messages from partition can be random</a:t>
            </a: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604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7296" y="619185"/>
            <a:ext cx="54468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pplications publishes messages to the topic in kafka cluster.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an be of any kind like front end, streaming etc.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hile writing messages, it is also possible to attach a key with the  message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e key will arrive in the same partition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oesn’t wait for the acknowledgement from the kafka cluster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ublishes as much messages as fast as the broker in a cluster can handle</a:t>
            </a:r>
          </a:p>
          <a:p>
            <a:pPr defTabSz="685783">
              <a:lnSpc>
                <a:spcPct val="300000"/>
              </a:lnSpc>
            </a:pP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Producers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5742527" y="1248877"/>
            <a:ext cx="3015438" cy="2611663"/>
            <a:chOff x="5907897" y="1099226"/>
            <a:chExt cx="3015438" cy="2611663"/>
          </a:xfrm>
        </p:grpSpPr>
        <p:sp>
          <p:nvSpPr>
            <p:cNvPr id="2" name="Rectangle 1"/>
            <p:cNvSpPr/>
            <p:nvPr/>
          </p:nvSpPr>
          <p:spPr>
            <a:xfrm>
              <a:off x="7804655" y="2108363"/>
              <a:ext cx="1118680" cy="593387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afka Clusters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907897" y="1099226"/>
              <a:ext cx="1118680" cy="593387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ducer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5907897" y="2108364"/>
              <a:ext cx="1118680" cy="593387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ducer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5918064" y="3117502"/>
              <a:ext cx="1118680" cy="593387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oducer</a:t>
              </a:r>
            </a:p>
          </p:txBody>
        </p:sp>
        <p:cxnSp>
          <p:nvCxnSpPr>
            <p:cNvPr id="10" name="Straight Arrow Connector 9"/>
            <p:cNvCxnSpPr>
              <a:stCxn id="7" idx="3"/>
            </p:cNvCxnSpPr>
            <p:nvPr/>
          </p:nvCxnSpPr>
          <p:spPr>
            <a:xfrm>
              <a:off x="7026577" y="1395920"/>
              <a:ext cx="687457" cy="821986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>
              <a:stCxn id="9" idx="3"/>
            </p:cNvCxnSpPr>
            <p:nvPr/>
          </p:nvCxnSpPr>
          <p:spPr>
            <a:xfrm flipV="1">
              <a:off x="7036744" y="2592208"/>
              <a:ext cx="677290" cy="821988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>
              <a:stCxn id="8" idx="3"/>
            </p:cNvCxnSpPr>
            <p:nvPr/>
          </p:nvCxnSpPr>
          <p:spPr>
            <a:xfrm flipV="1">
              <a:off x="7026577" y="2405056"/>
              <a:ext cx="687457" cy="2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49284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Consumer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84829" y="851861"/>
            <a:ext cx="502965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pplications subscribes and consumes messages from the brokers in Kafka cluster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an be of any kind like real time consumers, NoSQL consumers, etc.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uring consumption of messages from a topic, a consumer group can be configured with multiple consumers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ach consumer of consumer group reads messages from a unique subset of partitions in each topic they subscribe to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essages with same key arrives at same consumer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upports both Queuing and Publish-Subscribe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onsumers have to maintain the number of messages consumed</a:t>
            </a:r>
          </a:p>
          <a:p>
            <a:pPr defTabSz="685783">
              <a:lnSpc>
                <a:spcPct val="200000"/>
              </a:lnSpc>
            </a:pP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7" name="Straight Arrow Connector 16"/>
          <p:cNvCxnSpPr>
            <a:stCxn id="8" idx="3"/>
          </p:cNvCxnSpPr>
          <p:nvPr/>
        </p:nvCxnSpPr>
        <p:spPr>
          <a:xfrm>
            <a:off x="6542640" y="2839247"/>
            <a:ext cx="1110260" cy="0"/>
          </a:xfrm>
          <a:prstGeom prst="straightConnector1">
            <a:avLst/>
          </a:prstGeom>
          <a:ln w="127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/>
        </p:nvGrpSpPr>
        <p:grpSpPr>
          <a:xfrm>
            <a:off x="5400702" y="1589133"/>
            <a:ext cx="3419009" cy="2477031"/>
            <a:chOff x="5624439" y="898467"/>
            <a:chExt cx="3349372" cy="2611663"/>
          </a:xfrm>
        </p:grpSpPr>
        <p:sp>
          <p:nvSpPr>
            <p:cNvPr id="8" name="Rectangle 7"/>
            <p:cNvSpPr/>
            <p:nvPr/>
          </p:nvSpPr>
          <p:spPr>
            <a:xfrm>
              <a:off x="5624439" y="1919834"/>
              <a:ext cx="1118680" cy="593387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afka Clusters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7855028" y="898467"/>
              <a:ext cx="1118783" cy="2611663"/>
              <a:chOff x="5682474" y="927862"/>
              <a:chExt cx="1118783" cy="2611663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5682474" y="927862"/>
                <a:ext cx="1118680" cy="593387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nsumer</a:t>
                </a:r>
                <a:endParaRPr lang="en-US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5682475" y="1937000"/>
                <a:ext cx="1118680" cy="593387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nsumer</a:t>
                </a:r>
                <a:endParaRPr lang="en-US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5682577" y="2946138"/>
                <a:ext cx="1118680" cy="593387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onsumer</a:t>
                </a:r>
                <a:endParaRPr lang="en-US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cxnSp>
          <p:nvCxnSpPr>
            <p:cNvPr id="15" name="Straight Arrow Connector 14"/>
            <p:cNvCxnSpPr/>
            <p:nvPr/>
          </p:nvCxnSpPr>
          <p:spPr>
            <a:xfrm flipV="1">
              <a:off x="6743119" y="1195160"/>
              <a:ext cx="1087647" cy="906014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6743119" y="2383277"/>
              <a:ext cx="1087647" cy="739302"/>
            </a:xfrm>
            <a:prstGeom prst="straightConnector1">
              <a:avLst/>
            </a:prstGeom>
            <a:ln w="127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9570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7296" y="677203"/>
            <a:ext cx="4630155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ch server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 the cluster is called a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oker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andles hundreds of MBs of writes from producers and reads from consumers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Retains all published messages irrespective of whether it is consumed or not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tention is configured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n days </a:t>
            </a: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ublished messages is available for consumptions for configured ‘n’ days and thereafter it is discarded</a:t>
            </a:r>
          </a:p>
          <a:p>
            <a:pPr marL="171450" indent="-171450" defTabSz="685783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orks like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eue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 consumer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ances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long to 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e consumer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oup, else works like publish-subscribe</a:t>
            </a:r>
          </a:p>
          <a:p>
            <a:pPr defTabSz="685783">
              <a:lnSpc>
                <a:spcPct val="200000"/>
              </a:lnSpc>
            </a:pP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Broker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7294" y="1187991"/>
            <a:ext cx="3858501" cy="321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228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Producer-Broker-Consumer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872" y="978882"/>
            <a:ext cx="7323548" cy="3874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90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/>
        </p:nvSpPr>
        <p:spPr>
          <a:xfrm>
            <a:off x="2422846" y="3462392"/>
            <a:ext cx="6546494" cy="39674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70C0"/>
              </a:buClr>
              <a:buNone/>
            </a:pPr>
            <a:endParaRPr lang="en-US" sz="1400" dirty="0" smtClean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/>
        </p:nvSpPr>
        <p:spPr>
          <a:xfrm>
            <a:off x="511102" y="837690"/>
            <a:ext cx="6546494" cy="380209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70C0"/>
              </a:buClr>
              <a:buNone/>
            </a:pPr>
            <a:endParaRPr lang="en-US" sz="16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illion Dollar Question! Why we need Kafka?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hat is Kafka?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fka Architecture</a:t>
            </a: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fka with Hadoop</a:t>
            </a: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fka with Spark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fka with Storm</a:t>
            </a: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panies using Kafka</a:t>
            </a: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mo on Kafka Messaging Service…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en-US" sz="1400" dirty="0" smtClean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8836" y="145917"/>
            <a:ext cx="4656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800" dirty="0" smtClean="0">
                <a:solidFill>
                  <a:srgbClr val="262626"/>
                </a:solidFill>
              </a:rPr>
              <a:t>What will you learn today?</a:t>
            </a:r>
            <a:endParaRPr lang="en-IN" sz="2800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09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981945" y="955543"/>
            <a:ext cx="46919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lnSpc>
                <a:spcPct val="200000"/>
              </a:lnSpc>
              <a:buClr>
                <a:srgbClr val="0070C0"/>
              </a:buClr>
            </a:pPr>
            <a:r>
              <a:rPr lang="en-US" sz="20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ow </a:t>
            </a:r>
            <a:r>
              <a:rPr lang="en-US" sz="20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fka can </a:t>
            </a:r>
            <a:r>
              <a:rPr lang="en-US" sz="20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 used with Hadoop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19" t="16639" r="21294" b="17186"/>
          <a:stretch/>
        </p:blipFill>
        <p:spPr>
          <a:xfrm>
            <a:off x="1800307" y="1990352"/>
            <a:ext cx="1925386" cy="2368874"/>
          </a:xfrm>
          <a:prstGeom prst="rect">
            <a:avLst/>
          </a:prstGeom>
        </p:spPr>
      </p:pic>
      <p:sp>
        <p:nvSpPr>
          <p:cNvPr id="4" name="Plus 3"/>
          <p:cNvSpPr/>
          <p:nvPr/>
        </p:nvSpPr>
        <p:spPr>
          <a:xfrm>
            <a:off x="3725693" y="2785683"/>
            <a:ext cx="836579" cy="778213"/>
          </a:xfrm>
          <a:prstGeom prst="mathPlus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728" y="1587593"/>
            <a:ext cx="3041152" cy="320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4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98836" y="145917"/>
            <a:ext cx="692663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2600" dirty="0" smtClean="0">
                <a:solidFill>
                  <a:srgbClr val="262626"/>
                </a:solidFill>
                <a:latin typeface="+mj-lt"/>
              </a:rPr>
              <a:t>Kafka with Hadoop using Camus</a:t>
            </a:r>
            <a:endParaRPr lang="en-IN" sz="2600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5304" y="721090"/>
            <a:ext cx="4774349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us is LinkedIn's </a:t>
            </a: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fka -&gt;</a:t>
            </a:r>
            <a:r>
              <a: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DFS pipeline</a:t>
            </a: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endParaRPr lang="en-I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is a </a:t>
            </a:r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Reduce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ob 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tributes data loads out of Kafka</a:t>
            </a: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endParaRPr lang="en-I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 LinkedIn, it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cesses tens of billions of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ssages/day</a:t>
            </a:r>
          </a:p>
          <a:p>
            <a:pPr>
              <a:lnSpc>
                <a:spcPct val="200000"/>
              </a:lnSpc>
            </a:pP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 work done with one single Hadoop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ob</a:t>
            </a: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200000"/>
              </a:lnSpc>
            </a:pPr>
            <a:endParaRPr lang="en-I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200000"/>
              </a:lnSpc>
            </a:pPr>
            <a:endParaRPr lang="en-I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lnSpc>
                <a:spcPct val="200000"/>
              </a:lnSpc>
              <a:buFont typeface="Symbol" panose="05050102010706020507" pitchFamily="18" charset="2"/>
              <a:buChar char="®"/>
            </a:pP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0538" y="1492805"/>
            <a:ext cx="4763462" cy="335021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463047" y="4750749"/>
            <a:ext cx="164397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Courtesy </a:t>
            </a:r>
            <a:r>
              <a:rPr lang="en-US" dirty="0">
                <a:solidFill>
                  <a:srgbClr val="0070C0"/>
                </a:solidFill>
              </a:rPr>
              <a:t>: confluent</a:t>
            </a:r>
          </a:p>
        </p:txBody>
      </p:sp>
    </p:spTree>
    <p:extLst>
      <p:ext uri="{BB962C8B-B14F-4D97-AF65-F5344CB8AC3E}">
        <p14:creationId xmlns:p14="http://schemas.microsoft.com/office/powerpoint/2010/main" val="362206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934946" y="1436475"/>
            <a:ext cx="446276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lnSpc>
                <a:spcPct val="200000"/>
              </a:lnSpc>
              <a:buClr>
                <a:srgbClr val="0070C0"/>
              </a:buClr>
            </a:pPr>
            <a:r>
              <a:rPr lang="en-US" sz="20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ow </a:t>
            </a:r>
            <a:r>
              <a:rPr lang="en-US" sz="20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fka </a:t>
            </a:r>
            <a:r>
              <a:rPr lang="en-US" sz="20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n be used with </a:t>
            </a:r>
            <a:r>
              <a:rPr lang="en-US" sz="20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park</a:t>
            </a:r>
            <a:endParaRPr lang="en-US" sz="20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19" t="16639" r="21294" b="17186"/>
          <a:stretch/>
        </p:blipFill>
        <p:spPr>
          <a:xfrm>
            <a:off x="1904124" y="2144361"/>
            <a:ext cx="1925386" cy="2368874"/>
          </a:xfrm>
          <a:prstGeom prst="rect">
            <a:avLst/>
          </a:prstGeom>
        </p:spPr>
      </p:pic>
      <p:sp>
        <p:nvSpPr>
          <p:cNvPr id="4" name="Plus 3"/>
          <p:cNvSpPr/>
          <p:nvPr/>
        </p:nvSpPr>
        <p:spPr>
          <a:xfrm>
            <a:off x="3931055" y="2785682"/>
            <a:ext cx="836579" cy="778213"/>
          </a:xfrm>
          <a:prstGeom prst="mathPlus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6" t="42540" r="14954"/>
          <a:stretch/>
        </p:blipFill>
        <p:spPr>
          <a:xfrm>
            <a:off x="4869180" y="2684951"/>
            <a:ext cx="1750979" cy="97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66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/>
          <p:nvPr/>
        </p:nvSpPr>
        <p:spPr>
          <a:xfrm>
            <a:off x="0" y="598931"/>
            <a:ext cx="466344" cy="82296"/>
          </a:xfrm>
          <a:custGeom>
            <a:avLst/>
            <a:gdLst/>
            <a:ahLst/>
            <a:cxnLst/>
            <a:rect l="l" t="t" r="r" b="b"/>
            <a:pathLst>
              <a:path w="466344" h="82296">
                <a:moveTo>
                  <a:pt x="0" y="82296"/>
                </a:moveTo>
                <a:lnTo>
                  <a:pt x="466344" y="82296"/>
                </a:lnTo>
                <a:lnTo>
                  <a:pt x="466344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5C9B1D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478206" y="240206"/>
            <a:ext cx="6660621" cy="3587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3048">
              <a:lnSpc>
                <a:spcPts val="2750"/>
              </a:lnSpc>
              <a:spcBef>
                <a:spcPts val="137"/>
              </a:spcBef>
            </a:pPr>
            <a:r>
              <a:rPr lang="en-US"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Kafka With 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Spa</a:t>
            </a:r>
            <a:r>
              <a:rPr sz="3900" spc="4" baseline="3150" dirty="0" smtClean="0">
                <a:solidFill>
                  <a:srgbClr val="252525"/>
                </a:solidFill>
                <a:latin typeface="Calibri"/>
                <a:cs typeface="Calibri"/>
              </a:rPr>
              <a:t>r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k S</a:t>
            </a:r>
            <a:r>
              <a:rPr sz="3900" spc="4" baseline="3150" dirty="0" smtClean="0">
                <a:solidFill>
                  <a:srgbClr val="252525"/>
                </a:solidFill>
                <a:latin typeface="Calibri"/>
                <a:cs typeface="Calibri"/>
              </a:rPr>
              <a:t>t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reaming</a:t>
            </a:r>
            <a:endParaRPr sz="26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45693" y="3899725"/>
            <a:ext cx="5779606" cy="4685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endParaRPr sz="1200" dirty="0">
              <a:latin typeface="Tahoma"/>
              <a:cs typeface="Tahoma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168"/>
          <a:stretch/>
        </p:blipFill>
        <p:spPr>
          <a:xfrm>
            <a:off x="2399500" y="2618399"/>
            <a:ext cx="4096026" cy="2492418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545693" y="522976"/>
            <a:ext cx="81702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messages are stored in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‘n’ partitions,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allel 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ding makes things faster</a:t>
            </a:r>
          </a:p>
          <a:p>
            <a:pPr marL="171450" indent="-171450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rally  in Kafka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essages are stored in multiple partitions</a:t>
            </a:r>
          </a:p>
          <a:p>
            <a:pPr marL="171450" indent="-171450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allel reads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n be effectively achieved by 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ark streaming</a:t>
            </a:r>
          </a:p>
          <a:p>
            <a:pPr marL="171450" indent="-171450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allelism of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ds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 achieved by integrating </a:t>
            </a:r>
            <a:r>
              <a:rPr lang="en-US" sz="1200" dirty="0" err="1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fkaInputDStream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Spark with 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fka High Level Consumer API</a:t>
            </a:r>
          </a:p>
        </p:txBody>
      </p:sp>
    </p:spTree>
    <p:extLst>
      <p:ext uri="{BB962C8B-B14F-4D97-AF65-F5344CB8AC3E}">
        <p14:creationId xmlns:p14="http://schemas.microsoft.com/office/powerpoint/2010/main" val="3488090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030447" y="1461434"/>
            <a:ext cx="671119" cy="629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019259" y="2335462"/>
            <a:ext cx="671119" cy="629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019259" y="3209490"/>
            <a:ext cx="671119" cy="629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019259" y="4127035"/>
            <a:ext cx="671119" cy="6291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813732" y="1101405"/>
            <a:ext cx="121640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   </a:t>
            </a:r>
            <a:r>
              <a:rPr lang="en-US" b="1" dirty="0" smtClean="0">
                <a:solidFill>
                  <a:srgbClr val="002060"/>
                </a:solidFill>
              </a:rPr>
              <a:t>APPS</a:t>
            </a:r>
            <a:endParaRPr lang="en-US" b="1" dirty="0">
              <a:solidFill>
                <a:srgbClr val="002060"/>
              </a:solidFill>
            </a:endParaRPr>
          </a:p>
        </p:txBody>
      </p:sp>
      <p:cxnSp>
        <p:nvCxnSpPr>
          <p:cNvPr id="10" name="Straight Arrow Connector 9"/>
          <p:cNvCxnSpPr>
            <a:stCxn id="2" idx="3"/>
          </p:cNvCxnSpPr>
          <p:nvPr/>
        </p:nvCxnSpPr>
        <p:spPr>
          <a:xfrm>
            <a:off x="1701566" y="1776021"/>
            <a:ext cx="1326860" cy="13051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7" idx="3"/>
          </p:cNvCxnSpPr>
          <p:nvPr/>
        </p:nvCxnSpPr>
        <p:spPr>
          <a:xfrm flipV="1">
            <a:off x="1690378" y="3081207"/>
            <a:ext cx="1338048" cy="1360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5" idx="3"/>
          </p:cNvCxnSpPr>
          <p:nvPr/>
        </p:nvCxnSpPr>
        <p:spPr>
          <a:xfrm>
            <a:off x="1690378" y="2650049"/>
            <a:ext cx="1338048" cy="431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6" idx="3"/>
          </p:cNvCxnSpPr>
          <p:nvPr/>
        </p:nvCxnSpPr>
        <p:spPr>
          <a:xfrm flipV="1">
            <a:off x="1690378" y="3092919"/>
            <a:ext cx="1338048" cy="431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/>
          <p:cNvSpPr/>
          <p:nvPr/>
        </p:nvSpPr>
        <p:spPr>
          <a:xfrm>
            <a:off x="3028426" y="2764525"/>
            <a:ext cx="2667699" cy="64507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3338818" y="2225530"/>
            <a:ext cx="186235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          </a:t>
            </a:r>
            <a:r>
              <a:rPr lang="en-US" b="1" dirty="0" smtClean="0"/>
              <a:t>Kafka</a:t>
            </a:r>
            <a:endParaRPr lang="en-US" b="1" dirty="0"/>
          </a:p>
        </p:txBody>
      </p:sp>
      <p:sp>
        <p:nvSpPr>
          <p:cNvPr id="21" name="Rounded Rectangle 20"/>
          <p:cNvSpPr/>
          <p:nvPr/>
        </p:nvSpPr>
        <p:spPr>
          <a:xfrm>
            <a:off x="3238150" y="2964636"/>
            <a:ext cx="444617" cy="24485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/>
        </p:nvSpPr>
        <p:spPr>
          <a:xfrm>
            <a:off x="3892491" y="2958780"/>
            <a:ext cx="444617" cy="24485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/>
          <p:cNvSpPr/>
          <p:nvPr/>
        </p:nvSpPr>
        <p:spPr>
          <a:xfrm>
            <a:off x="5152239" y="2958780"/>
            <a:ext cx="444617" cy="24485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4497898" y="2958780"/>
            <a:ext cx="444617" cy="24485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3460458" y="2706674"/>
            <a:ext cx="182460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    E  V  E  N  T  S</a:t>
            </a:r>
            <a:endParaRPr lang="en-US" dirty="0"/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5696125" y="3044489"/>
            <a:ext cx="442576" cy="17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7970" y="2715768"/>
            <a:ext cx="1261788" cy="625498"/>
          </a:xfrm>
          <a:prstGeom prst="rect">
            <a:avLst/>
          </a:prstGeom>
        </p:spPr>
      </p:pic>
      <p:cxnSp>
        <p:nvCxnSpPr>
          <p:cNvPr id="30" name="Straight Arrow Connector 29"/>
          <p:cNvCxnSpPr>
            <a:endCxn id="36" idx="1"/>
          </p:cNvCxnSpPr>
          <p:nvPr/>
        </p:nvCxnSpPr>
        <p:spPr>
          <a:xfrm flipV="1">
            <a:off x="7499758" y="3047041"/>
            <a:ext cx="397513" cy="303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7271" y="2734292"/>
            <a:ext cx="1110786" cy="625498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6091807" y="3301622"/>
            <a:ext cx="186235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          </a:t>
            </a:r>
            <a:r>
              <a:rPr lang="en-US" b="1" dirty="0" smtClean="0"/>
              <a:t>STREAMING</a:t>
            </a:r>
            <a:endParaRPr lang="en-US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7599027" y="3286037"/>
            <a:ext cx="186235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          </a:t>
            </a:r>
            <a:r>
              <a:rPr lang="en-US" b="1" dirty="0" smtClean="0"/>
              <a:t>ENGINE</a:t>
            </a:r>
            <a:endParaRPr lang="en-US" b="1" dirty="0"/>
          </a:p>
        </p:txBody>
      </p:sp>
      <p:sp>
        <p:nvSpPr>
          <p:cNvPr id="26" name="object 8"/>
          <p:cNvSpPr txBox="1"/>
          <p:nvPr/>
        </p:nvSpPr>
        <p:spPr>
          <a:xfrm>
            <a:off x="524662" y="269621"/>
            <a:ext cx="6660621" cy="7174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3048">
              <a:lnSpc>
                <a:spcPts val="2750"/>
              </a:lnSpc>
              <a:spcBef>
                <a:spcPts val="137"/>
              </a:spcBef>
            </a:pPr>
            <a:r>
              <a:rPr lang="en-US"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Kafka With 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Spa</a:t>
            </a:r>
            <a:r>
              <a:rPr sz="3900" spc="4" baseline="3150" dirty="0" smtClean="0">
                <a:solidFill>
                  <a:srgbClr val="252525"/>
                </a:solidFill>
                <a:latin typeface="Calibri"/>
                <a:cs typeface="Calibri"/>
              </a:rPr>
              <a:t>r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k S</a:t>
            </a:r>
            <a:r>
              <a:rPr sz="3900" spc="4" baseline="3150" dirty="0" smtClean="0">
                <a:solidFill>
                  <a:srgbClr val="252525"/>
                </a:solidFill>
                <a:latin typeface="Calibri"/>
                <a:cs typeface="Calibri"/>
              </a:rPr>
              <a:t>t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reaming</a:t>
            </a:r>
            <a:endParaRPr sz="2600" dirty="0">
              <a:latin typeface="Calibri"/>
              <a:cs typeface="Calibri"/>
            </a:endParaRPr>
          </a:p>
          <a:p>
            <a:pPr marL="33731">
              <a:lnSpc>
                <a:spcPct val="102091"/>
              </a:lnSpc>
              <a:spcBef>
                <a:spcPts val="1238"/>
              </a:spcBef>
            </a:pPr>
            <a:r>
              <a:rPr sz="1200" dirty="0" smtClean="0">
                <a:solidFill>
                  <a:srgbClr val="006FC0"/>
                </a:solidFill>
                <a:latin typeface="Symbol"/>
                <a:cs typeface="Symbol"/>
              </a:rPr>
              <a:t></a:t>
            </a:r>
            <a:r>
              <a:rPr sz="1200" spc="-129" dirty="0" smtClean="0">
                <a:solidFill>
                  <a:srgbClr val="006FC0"/>
                </a:solidFill>
                <a:latin typeface="Times New Roman"/>
                <a:cs typeface="Times New Roman"/>
              </a:rPr>
              <a:t> </a:t>
            </a:r>
            <a:r>
              <a:rPr lang="en-US" sz="1200" spc="0" dirty="0" smtClean="0">
                <a:solidFill>
                  <a:srgbClr val="006FC0"/>
                </a:solidFill>
                <a:latin typeface="Tahoma"/>
                <a:cs typeface="Tahoma"/>
              </a:rPr>
              <a:t>Generally in Kafka messages are stored in multiple partitions</a:t>
            </a:r>
            <a:endParaRPr sz="1200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411673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952762" y="2224415"/>
            <a:ext cx="449963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lnSpc>
                <a:spcPct val="200000"/>
              </a:lnSpc>
              <a:buClr>
                <a:srgbClr val="0070C0"/>
              </a:buClr>
            </a:pPr>
            <a:r>
              <a:rPr lang="en-US" sz="20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ow </a:t>
            </a:r>
            <a:r>
              <a:rPr lang="en-US" sz="20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fka can </a:t>
            </a:r>
            <a:r>
              <a:rPr lang="en-US" sz="20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 used with </a:t>
            </a:r>
            <a:r>
              <a:rPr lang="en-US" sz="20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orm</a:t>
            </a:r>
            <a:endParaRPr lang="en-US" sz="20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793"/>
          <a:stretch/>
        </p:blipFill>
        <p:spPr>
          <a:xfrm>
            <a:off x="942300" y="815618"/>
            <a:ext cx="6999623" cy="3978914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4" name="object 8"/>
          <p:cNvSpPr txBox="1"/>
          <p:nvPr/>
        </p:nvSpPr>
        <p:spPr>
          <a:xfrm>
            <a:off x="524662" y="269621"/>
            <a:ext cx="6660621" cy="7174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3048">
              <a:lnSpc>
                <a:spcPts val="2750"/>
              </a:lnSpc>
              <a:spcBef>
                <a:spcPts val="137"/>
              </a:spcBef>
            </a:pPr>
            <a:r>
              <a:rPr lang="en-US"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Kafka With 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Spa</a:t>
            </a:r>
            <a:r>
              <a:rPr sz="3900" spc="4" baseline="3150" dirty="0" smtClean="0">
                <a:solidFill>
                  <a:srgbClr val="252525"/>
                </a:solidFill>
                <a:latin typeface="Calibri"/>
                <a:cs typeface="Calibri"/>
              </a:rPr>
              <a:t>r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k S</a:t>
            </a:r>
            <a:r>
              <a:rPr sz="3900" spc="4" baseline="3150" dirty="0" smtClean="0">
                <a:solidFill>
                  <a:srgbClr val="252525"/>
                </a:solidFill>
                <a:latin typeface="Calibri"/>
                <a:cs typeface="Calibri"/>
              </a:rPr>
              <a:t>t</a:t>
            </a:r>
            <a:r>
              <a:rPr sz="3900" spc="0" baseline="3150" dirty="0" smtClean="0">
                <a:solidFill>
                  <a:srgbClr val="252525"/>
                </a:solidFill>
                <a:latin typeface="Calibri"/>
                <a:cs typeface="Calibri"/>
              </a:rPr>
              <a:t>reaming</a:t>
            </a:r>
            <a:endParaRPr sz="1200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4916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ompanies Using Kafka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3727" y="1193762"/>
            <a:ext cx="1074995" cy="70949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949" y="1028152"/>
            <a:ext cx="1045594" cy="104559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2656" y="2238745"/>
            <a:ext cx="776067" cy="77606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2923" y="2238745"/>
            <a:ext cx="776067" cy="7760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3137" y="1193762"/>
            <a:ext cx="2381250" cy="7143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3499" y="2197134"/>
            <a:ext cx="925974" cy="92597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0393" y="2238745"/>
            <a:ext cx="854629" cy="85462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48802" y="1243139"/>
            <a:ext cx="1716073" cy="493729"/>
          </a:xfrm>
          <a:prstGeom prst="rect">
            <a:avLst/>
          </a:prstGeom>
        </p:spPr>
      </p:pic>
      <p:pic>
        <p:nvPicPr>
          <p:cNvPr id="16" name="Picture 6" descr="Square-logo-black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091" y="2171069"/>
            <a:ext cx="859671" cy="859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13424" y="3762268"/>
            <a:ext cx="773230" cy="13313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354594" y="3599444"/>
            <a:ext cx="1138905" cy="59192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57321" y="3632035"/>
            <a:ext cx="1477513" cy="60947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67950" y="2295078"/>
            <a:ext cx="773228" cy="77322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795410" y="3434599"/>
            <a:ext cx="895362" cy="895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376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66612" y="995277"/>
            <a:ext cx="653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2000" b="1" dirty="0" smtClean="0">
                <a:latin typeface="Calibri" panose="020F0502020204030204" pitchFamily="34" charset="0"/>
              </a:rPr>
              <a:t>Get Certified in Apache Kafka from </a:t>
            </a:r>
            <a:r>
              <a:rPr lang="en-US" sz="2000" b="1" dirty="0" err="1" smtClean="0">
                <a:latin typeface="Calibri" panose="020F0502020204030204" pitchFamily="34" charset="0"/>
              </a:rPr>
              <a:t>Edureka</a:t>
            </a:r>
            <a:endParaRPr lang="en-US" sz="20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3" name="Round Diagonal Corner Rectangle 2"/>
          <p:cNvSpPr/>
          <p:nvPr/>
        </p:nvSpPr>
        <p:spPr>
          <a:xfrm>
            <a:off x="292954" y="2690697"/>
            <a:ext cx="8407730" cy="2116860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Real-Time Analytics with Apache Kafka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arefully designed </a:t>
            </a:r>
            <a:r>
              <a:rPr lang="en-US" sz="1200" dirty="0">
                <a:solidFill>
                  <a:schemeClr val="tx1"/>
                </a:solidFill>
              </a:rPr>
              <a:t>to provide knowledge and skills to become a successful Kafka Big Data </a:t>
            </a:r>
            <a:r>
              <a:rPr lang="en-US" sz="1200" dirty="0" smtClean="0">
                <a:solidFill>
                  <a:schemeClr val="tx1"/>
                </a:solidFill>
              </a:rPr>
              <a:t>Develop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Helps you master the </a:t>
            </a:r>
            <a:r>
              <a:rPr lang="en-US" sz="1200" dirty="0">
                <a:solidFill>
                  <a:schemeClr val="tx1"/>
                </a:solidFill>
              </a:rPr>
              <a:t>concepts of Kafka Cluster, Producers and Consumers, Kafka API, Kafka Integration with Hadoop, Storm and Spark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Encompasses </a:t>
            </a:r>
            <a:r>
              <a:rPr lang="en-US" sz="1200" dirty="0">
                <a:solidFill>
                  <a:schemeClr val="tx1"/>
                </a:solidFill>
              </a:rPr>
              <a:t>the fundamental concepts like Kafka cluster, Kafka API to advance topics such as Kafka integration with Hadoop, Storm, Spark, Maven </a:t>
            </a:r>
            <a:r>
              <a:rPr lang="en-US" sz="1200" dirty="0" smtClean="0">
                <a:solidFill>
                  <a:schemeClr val="tx1"/>
                </a:solidFill>
              </a:rPr>
              <a:t>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Live Courses: 15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25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528287" y="1751810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www.edureka.co/apache-kafk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386940" y="2349959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10th October (Weekend Batch)</a:t>
            </a:r>
          </a:p>
        </p:txBody>
      </p:sp>
      <p:pic>
        <p:nvPicPr>
          <p:cNvPr id="6" name="Picture 5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1881015" y="877756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604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Questions/Queries/Feedback/Survey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374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Million Dollar Question! </a:t>
            </a:r>
            <a:endParaRPr lang="en-US" sz="48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hy </a:t>
            </a:r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we need Kafka??</a:t>
            </a:r>
          </a:p>
        </p:txBody>
      </p:sp>
    </p:spTree>
    <p:extLst>
      <p:ext uri="{BB962C8B-B14F-4D97-AF65-F5344CB8AC3E}">
        <p14:creationId xmlns:p14="http://schemas.microsoft.com/office/powerpoint/2010/main" val="327181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511" y="3123492"/>
            <a:ext cx="1285875" cy="18383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4" t="6472" r="30314" b="38995"/>
          <a:stretch/>
        </p:blipFill>
        <p:spPr>
          <a:xfrm>
            <a:off x="2026268" y="677203"/>
            <a:ext cx="3355318" cy="2748979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458906" y="1405361"/>
            <a:ext cx="24900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fka is preferred in place of</a:t>
            </a:r>
          </a:p>
          <a:p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ore traditional brokers like JMS</a:t>
            </a:r>
          </a:p>
          <a:p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nd AMQP </a:t>
            </a:r>
            <a:endParaRPr lang="en-US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y </a:t>
            </a:r>
            <a:r>
              <a:rPr lang="en-US" dirty="0" smtClean="0"/>
              <a:t>Kafka </a:t>
            </a:r>
            <a:r>
              <a:rPr lang="en-US" dirty="0"/>
              <a:t>Cluster?</a:t>
            </a:r>
          </a:p>
        </p:txBody>
      </p:sp>
    </p:spTree>
    <p:extLst>
      <p:ext uri="{BB962C8B-B14F-4D97-AF65-F5344CB8AC3E}">
        <p14:creationId xmlns:p14="http://schemas.microsoft.com/office/powerpoint/2010/main" val="165199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Producer Performance with Other Systems</a:t>
            </a:r>
            <a:endParaRPr lang="en-US" dirty="0"/>
          </a:p>
        </p:txBody>
      </p:sp>
      <p:pic>
        <p:nvPicPr>
          <p:cNvPr id="2050" name="Picture 2" descr="46&#10; 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1317" b="1548"/>
          <a:stretch/>
        </p:blipFill>
        <p:spPr bwMode="auto">
          <a:xfrm>
            <a:off x="1914800" y="857250"/>
            <a:ext cx="5211557" cy="3903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7073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Consumer Performance with Other Systems</a:t>
            </a:r>
            <a:endParaRPr lang="en-US" dirty="0"/>
          </a:p>
        </p:txBody>
      </p:sp>
      <p:pic>
        <p:nvPicPr>
          <p:cNvPr id="1026" name="Picture 2" descr="47&#10; 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" b="1313"/>
          <a:stretch/>
        </p:blipFill>
        <p:spPr bwMode="auto">
          <a:xfrm>
            <a:off x="1904862" y="857250"/>
            <a:ext cx="5292025" cy="3873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080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alient Features of Kafka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4319435"/>
              </p:ext>
            </p:extLst>
          </p:nvPr>
        </p:nvGraphicFramePr>
        <p:xfrm>
          <a:off x="613013" y="972765"/>
          <a:ext cx="7750983" cy="3494093"/>
        </p:xfrm>
        <a:graphic>
          <a:graphicData uri="http://schemas.openxmlformats.org/drawingml/2006/table">
            <a:tbl>
              <a:tblPr firstRow="1" bandRow="1"/>
              <a:tblGrid>
                <a:gridCol w="1925641"/>
                <a:gridCol w="5825342"/>
              </a:tblGrid>
              <a:tr h="249719"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eature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escription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566727"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igh Throughput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port for million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of messages with modest hardwar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408223"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calabilit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ighly scalable distributed systems with no downtim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25231"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plication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6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33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498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664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829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2995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160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326" algn="l" defTabSz="914333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ssages can be replicated across cluster, which provides support for multiple subscribers and also in case of failure balances the consumers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05243" marR="105243" marT="52621" marB="52621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5547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urabilit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vides support for persistence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of messages to disk which can be further used for batch consumption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5476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rea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 Processing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afka can be used along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with real time streaming applications like spark and storm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39626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ta Loss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afka with the proper configurations can ensure zero data loss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4482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8498" y="2412459"/>
            <a:ext cx="3178570" cy="222499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34992" y="1202497"/>
            <a:ext cx="777130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ith Kafka, we can easily handle hundreds and thousands of messages in a second 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he cluster can be expanded with no downtime, making Kafka highly scalable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essages are replicated, which provides reliability and durability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Fault tolerant       </a:t>
            </a:r>
          </a:p>
          <a:p>
            <a:pPr marL="171450" indent="-171450" defTabSz="685783">
              <a:lnSpc>
                <a:spcPct val="300000"/>
              </a:lnSpc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alable                                                       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Kafka Advanta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85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What is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Kafka?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134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rain4ce_course_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10822</TotalTime>
  <Words>1028</Words>
  <Application>Microsoft Office PowerPoint</Application>
  <PresentationFormat>On-screen Show (16:9)</PresentationFormat>
  <Paragraphs>179</Paragraphs>
  <Slides>2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HP Simplified</vt:lpstr>
      <vt:lpstr>Symbol</vt:lpstr>
      <vt:lpstr>Tahoma</vt:lpstr>
      <vt:lpstr>Times New Roman</vt:lpstr>
      <vt:lpstr>Wingdings</vt:lpstr>
      <vt:lpstr>2_Brain4ce_course_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mala</dc:creator>
  <cp:lastModifiedBy>Vardhan</cp:lastModifiedBy>
  <cp:revision>1448</cp:revision>
  <dcterms:created xsi:type="dcterms:W3CDTF">2014-07-21T07:23:07Z</dcterms:created>
  <dcterms:modified xsi:type="dcterms:W3CDTF">2015-10-07T10:10:11Z</dcterms:modified>
</cp:coreProperties>
</file>